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3" r:id="rId3"/>
    <p:sldId id="268" r:id="rId4"/>
    <p:sldId id="269" r:id="rId5"/>
    <p:sldId id="270" r:id="rId6"/>
    <p:sldId id="271" r:id="rId7"/>
    <p:sldId id="273" r:id="rId8"/>
    <p:sldId id="274" r:id="rId9"/>
    <p:sldId id="275" r:id="rId10"/>
    <p:sldId id="258" r:id="rId11"/>
    <p:sldId id="264" r:id="rId12"/>
    <p:sldId id="265" r:id="rId13"/>
    <p:sldId id="266" r:id="rId14"/>
    <p:sldId id="267" r:id="rId15"/>
    <p:sldId id="277" r:id="rId16"/>
    <p:sldId id="276" r:id="rId17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1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0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80920B-C6ED-4465-B977-7B4D8C24E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00214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0" imgH="531" progId="TCLayout.ActiveDocument.1">
                  <p:embed/>
                </p:oleObj>
              </mc:Choice>
              <mc:Fallback>
                <p:oleObj name="think-cell Slide" r:id="rId14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80920B-C6ED-4465-B977-7B4D8C24E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41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7779" y="811823"/>
            <a:ext cx="8637073" cy="2541431"/>
          </a:xfrm>
        </p:spPr>
        <p:txBody>
          <a:bodyPr vert="horz">
            <a:normAutofit/>
          </a:bodyPr>
          <a:lstStyle/>
          <a:p>
            <a:pPr algn="ctr"/>
            <a:r>
              <a:rPr lang="fi-FI" sz="5400" dirty="0"/>
              <a:t>APPASSIMENTO-</a:t>
            </a:r>
            <a:r>
              <a:rPr lang="fi-FI" sz="5400" dirty="0" err="1"/>
              <a:t>metoden</a:t>
            </a:r>
            <a:br>
              <a:rPr lang="fi-FI" sz="5400" dirty="0"/>
            </a:br>
            <a:r>
              <a:rPr lang="fi-FI" sz="5400" dirty="0"/>
              <a:t>28.10.2022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EE6A0F-1E00-4B58-82EC-228EA86978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 err="1"/>
              <a:t>Trolle</a:t>
            </a:r>
            <a:r>
              <a:rPr lang="fi-FI" dirty="0"/>
              <a:t> Lindgren</a:t>
            </a:r>
          </a:p>
        </p:txBody>
      </p:sp>
    </p:spTree>
    <p:extLst>
      <p:ext uri="{BB962C8B-B14F-4D97-AF65-F5344CB8AC3E}">
        <p14:creationId xmlns:p14="http://schemas.microsoft.com/office/powerpoint/2010/main" val="107660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50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it-IT" b="0" i="0" dirty="0">
                <a:solidFill>
                  <a:srgbClr val="2A2A2A"/>
                </a:solidFill>
                <a:effectLst/>
                <a:latin typeface="LocatorWebLight"/>
              </a:rPr>
              <a:t>Sansilvestro Barbera Appassimento, Itali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492146" cy="4037749"/>
          </a:xfrm>
        </p:spPr>
        <p:txBody>
          <a:bodyPr>
            <a:normAutofit/>
          </a:bodyPr>
          <a:lstStyle/>
          <a:p>
            <a:pPr algn="l"/>
            <a:r>
              <a:rPr lang="sv-SE" b="1" i="0" dirty="0">
                <a:solidFill>
                  <a:srgbClr val="2A2A2A"/>
                </a:solidFill>
                <a:effectLst/>
                <a:latin typeface="LocatorWebRegular"/>
              </a:rPr>
              <a:t>Fyll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medelhöga tanniner, toner av björnbärssylt, svartvinbärig, körsbärig</a:t>
            </a:r>
          </a:p>
          <a:p>
            <a:r>
              <a:rPr lang="da-DK" dirty="0">
                <a:solidFill>
                  <a:srgbClr val="2A2A2A"/>
                </a:solidFill>
                <a:latin typeface="LocatorWebRegular"/>
              </a:rPr>
              <a:t>ALKOHOL: 14.0%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OCKER: 9.0 g/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YROR: 6.3 g/l</a:t>
            </a:r>
          </a:p>
          <a:p>
            <a:endParaRPr lang="sv-FI" dirty="0"/>
          </a:p>
        </p:txBody>
      </p:sp>
      <p:pic>
        <p:nvPicPr>
          <p:cNvPr id="4110" name="Picture 14">
            <a:extLst>
              <a:ext uri="{FF2B5EF4-FFF2-40B4-BE49-F238E27FC236}">
                <a16:creationId xmlns:a16="http://schemas.microsoft.com/office/drawing/2014/main" id="{1C7A8C03-E41F-4C34-8C95-09D09D2CC8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1673" y="2015732"/>
            <a:ext cx="1061288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20270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 err="1">
                <a:solidFill>
                  <a:srgbClr val="2A2A2A"/>
                </a:solidFill>
                <a:latin typeface="LocatorWebLight"/>
              </a:rPr>
              <a:t>Mayu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Gran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Reserva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Carmener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18, Chile</a:t>
            </a:r>
            <a:endParaRPr lang="en-FI" dirty="0">
              <a:solidFill>
                <a:srgbClr val="2A2A2A"/>
              </a:solidFill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368321" cy="4037749"/>
          </a:xfrm>
        </p:spPr>
        <p:txBody>
          <a:bodyPr>
            <a:normAutofit/>
          </a:bodyPr>
          <a:lstStyle/>
          <a:p>
            <a:r>
              <a:rPr lang="sv-SE" b="1" i="0" dirty="0">
                <a:solidFill>
                  <a:srgbClr val="2A2A2A"/>
                </a:solidFill>
                <a:effectLst/>
                <a:latin typeface="LocatorWebRegular"/>
              </a:rPr>
              <a:t>Fyll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medelhöga tanniner, toner av mörka körsbär, plommonkaraktär, björnbärig, pepprig, lätta inslag av paprika, rostad</a:t>
            </a:r>
          </a:p>
          <a:p>
            <a:r>
              <a:rPr lang="da-DK" dirty="0">
                <a:solidFill>
                  <a:srgbClr val="2A2A2A"/>
                </a:solidFill>
                <a:latin typeface="LocatorWebRegular"/>
              </a:rPr>
              <a:t>ALKOHOL: 15.0%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OCKER: 5.0 g/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YROR: 5.3 g/l</a:t>
            </a:r>
          </a:p>
          <a:p>
            <a:endParaRPr lang="sv-FI" dirty="0"/>
          </a:p>
        </p:txBody>
      </p:sp>
      <p:pic>
        <p:nvPicPr>
          <p:cNvPr id="10251" name="Picture 11">
            <a:extLst>
              <a:ext uri="{FF2B5EF4-FFF2-40B4-BE49-F238E27FC236}">
                <a16:creationId xmlns:a16="http://schemas.microsoft.com/office/drawing/2014/main" id="{414DCB58-0744-495D-98EE-1EA9CB1EB7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143" y="2015732"/>
            <a:ext cx="1038840" cy="4043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5405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>
                <a:solidFill>
                  <a:srgbClr val="2A2A2A"/>
                </a:solidFill>
                <a:latin typeface="LocatorWebLight"/>
              </a:rPr>
              <a:t>Casa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Marron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Gran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Marron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Appassiment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Primitiv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20,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Italien</a:t>
            </a:r>
            <a:endParaRPr lang="en-US" dirty="0">
              <a:solidFill>
                <a:srgbClr val="2A2A2A"/>
              </a:solidFill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368321" cy="4037749"/>
          </a:xfrm>
        </p:spPr>
        <p:txBody>
          <a:bodyPr>
            <a:normAutofit/>
          </a:bodyPr>
          <a:lstStyle/>
          <a:p>
            <a:r>
              <a:rPr lang="sv-SE" b="1" i="0" dirty="0">
                <a:solidFill>
                  <a:srgbClr val="2A2A2A"/>
                </a:solidFill>
                <a:effectLst/>
                <a:latin typeface="LocatorWebRegular"/>
              </a:rPr>
              <a:t>Fyll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höga tanniner, björnbärig, toner av mörka körsbär, </a:t>
            </a:r>
            <a:r>
              <a:rPr lang="sv-SE" b="0" i="0" dirty="0" err="1">
                <a:solidFill>
                  <a:srgbClr val="2A2A2A"/>
                </a:solidFill>
                <a:effectLst/>
                <a:latin typeface="LocatorWebRegular"/>
              </a:rPr>
              <a:t>vanilj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svag läderton, </a:t>
            </a:r>
            <a:r>
              <a:rPr lang="sv-SE" b="0" i="0" dirty="0" err="1">
                <a:solidFill>
                  <a:srgbClr val="2A2A2A"/>
                </a:solidFill>
                <a:effectLst/>
                <a:latin typeface="LocatorWebRegular"/>
              </a:rPr>
              <a:t>ekig</a:t>
            </a:r>
            <a:endParaRPr lang="sv-SE" b="0" i="0" dirty="0">
              <a:solidFill>
                <a:srgbClr val="2A2A2A"/>
              </a:solidFill>
              <a:effectLst/>
              <a:latin typeface="LocatorWebRegular"/>
            </a:endParaRPr>
          </a:p>
          <a:p>
            <a:r>
              <a:rPr lang="da-DK" dirty="0">
                <a:solidFill>
                  <a:srgbClr val="2A2A2A"/>
                </a:solidFill>
                <a:latin typeface="LocatorWebRegular"/>
              </a:rPr>
              <a:t>ALKOHOL: 14.5%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OCKER: 7.0 g/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YROR: 5.8 g/l</a:t>
            </a:r>
          </a:p>
          <a:p>
            <a:endParaRPr lang="sv-FI" dirty="0"/>
          </a:p>
        </p:txBody>
      </p:sp>
      <p:pic>
        <p:nvPicPr>
          <p:cNvPr id="11275" name="Picture 11">
            <a:extLst>
              <a:ext uri="{FF2B5EF4-FFF2-40B4-BE49-F238E27FC236}">
                <a16:creationId xmlns:a16="http://schemas.microsoft.com/office/drawing/2014/main" id="{EBCBDF48-7303-492F-BEFA-38A221029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4043" y="2015731"/>
            <a:ext cx="1045920" cy="390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6962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 err="1">
                <a:solidFill>
                  <a:srgbClr val="2A2A2A"/>
                </a:solidFill>
                <a:latin typeface="LocatorWebLight"/>
              </a:rPr>
              <a:t>Hewitson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L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Secateur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Shiraz 2020,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Australien</a:t>
            </a:r>
            <a:endParaRPr lang="en-FI" dirty="0">
              <a:solidFill>
                <a:srgbClr val="2A2A2A"/>
              </a:solidFill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368321" cy="4037749"/>
          </a:xfrm>
        </p:spPr>
        <p:txBody>
          <a:bodyPr>
            <a:normAutofit/>
          </a:bodyPr>
          <a:lstStyle/>
          <a:p>
            <a:pPr algn="l"/>
            <a:r>
              <a:rPr lang="sv-SE" b="1" i="0" dirty="0">
                <a:solidFill>
                  <a:srgbClr val="2A2A2A"/>
                </a:solidFill>
                <a:effectLst/>
                <a:latin typeface="LocatorWebRegular"/>
              </a:rPr>
              <a:t>Fyll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medelhöga tanniner, toner av körsbärssylt, vinbärig, mörka plommontoner, lätt vaniljton, rostad</a:t>
            </a:r>
          </a:p>
          <a:p>
            <a:r>
              <a:rPr lang="da-DK" dirty="0">
                <a:solidFill>
                  <a:srgbClr val="2A2A2A"/>
                </a:solidFill>
                <a:latin typeface="LocatorWebRegular"/>
              </a:rPr>
              <a:t>ALKOHOL: 14.0%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OCKER: 6.0 g/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YROR: 5.1 g/l</a:t>
            </a:r>
          </a:p>
          <a:p>
            <a:endParaRPr lang="sv-FI" dirty="0"/>
          </a:p>
        </p:txBody>
      </p:sp>
      <p:pic>
        <p:nvPicPr>
          <p:cNvPr id="12305" name="Picture 17">
            <a:extLst>
              <a:ext uri="{FF2B5EF4-FFF2-40B4-BE49-F238E27FC236}">
                <a16:creationId xmlns:a16="http://schemas.microsoft.com/office/drawing/2014/main" id="{11D6A653-0CBC-4C6F-A3D4-0DE5189E4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6076" y="2025360"/>
            <a:ext cx="1080773" cy="3980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219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 err="1">
                <a:solidFill>
                  <a:srgbClr val="2A2A2A"/>
                </a:solidFill>
                <a:latin typeface="LocatorWebLight"/>
              </a:rPr>
              <a:t>Nin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Negri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SfurSat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Carlo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Negri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Nebbiol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19,	</a:t>
            </a:r>
            <a:br>
              <a:rPr lang="en-FI" dirty="0">
                <a:solidFill>
                  <a:srgbClr val="2A2A2A"/>
                </a:solidFill>
                <a:latin typeface="LocatorWebLight"/>
              </a:rPr>
            </a:br>
            <a:r>
              <a:rPr lang="fi-FI" dirty="0" err="1">
                <a:solidFill>
                  <a:srgbClr val="2A2A2A"/>
                </a:solidFill>
                <a:latin typeface="LocatorWebLight"/>
              </a:rPr>
              <a:t>Italien</a:t>
            </a:r>
            <a:endParaRPr lang="en-FI" dirty="0">
              <a:solidFill>
                <a:srgbClr val="2A2A2A"/>
              </a:solidFill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368321" cy="4037749"/>
          </a:xfrm>
        </p:spPr>
        <p:txBody>
          <a:bodyPr>
            <a:normAutofit/>
          </a:bodyPr>
          <a:lstStyle/>
          <a:p>
            <a:r>
              <a:rPr lang="sv-SE" b="1" i="0" dirty="0">
                <a:solidFill>
                  <a:srgbClr val="2A2A2A"/>
                </a:solidFill>
                <a:effectLst/>
                <a:latin typeface="LocatorWebRegular"/>
              </a:rPr>
              <a:t>Medelfyll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höga tanniner, surkörsbärskaraktär, fikonkaraktär, björnbärig, inslag av medicinalörter, svag </a:t>
            </a:r>
            <a:r>
              <a:rPr lang="sv-SE" b="0" i="0" dirty="0" err="1">
                <a:solidFill>
                  <a:srgbClr val="2A2A2A"/>
                </a:solidFill>
                <a:effectLst/>
                <a:latin typeface="LocatorWebRegular"/>
              </a:rPr>
              <a:t>lakritston</a:t>
            </a:r>
            <a:endParaRPr lang="sv-SE" b="0" i="0" dirty="0">
              <a:solidFill>
                <a:srgbClr val="2A2A2A"/>
              </a:solidFill>
              <a:effectLst/>
              <a:latin typeface="LocatorWebRegular"/>
            </a:endParaRPr>
          </a:p>
          <a:p>
            <a:r>
              <a:rPr lang="da-DK" dirty="0">
                <a:solidFill>
                  <a:srgbClr val="2A2A2A"/>
                </a:solidFill>
                <a:latin typeface="LocatorWebRegular"/>
              </a:rPr>
              <a:t>ALKOHOL: 16.0%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OCKER: 5.0 g/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YROR: 6.2 g/l</a:t>
            </a:r>
          </a:p>
          <a:p>
            <a:endParaRPr lang="sv-FI" dirty="0"/>
          </a:p>
        </p:txBody>
      </p:sp>
      <p:pic>
        <p:nvPicPr>
          <p:cNvPr id="13319" name="Picture 7">
            <a:extLst>
              <a:ext uri="{FF2B5EF4-FFF2-40B4-BE49-F238E27FC236}">
                <a16:creationId xmlns:a16="http://schemas.microsoft.com/office/drawing/2014/main" id="{ACC7B98C-BC3F-4DDA-AC33-6AA3C1F4F9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4042" y="2047231"/>
            <a:ext cx="1104900" cy="3964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65071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 err="1">
                <a:solidFill>
                  <a:srgbClr val="2A2A2A"/>
                </a:solidFill>
                <a:latin typeface="LocatorWebLight"/>
              </a:rPr>
              <a:t>Tommasi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Amaron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della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Valpolicella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	</a:t>
            </a:r>
            <a:br>
              <a:rPr lang="en-FI" dirty="0">
                <a:solidFill>
                  <a:srgbClr val="2A2A2A"/>
                </a:solidFill>
                <a:latin typeface="LocatorWebLight"/>
              </a:rPr>
            </a:br>
            <a:r>
              <a:rPr lang="fi-FI" dirty="0" err="1">
                <a:solidFill>
                  <a:srgbClr val="2A2A2A"/>
                </a:solidFill>
                <a:latin typeface="LocatorWebLight"/>
              </a:rPr>
              <a:t>Classic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18,	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Italien</a:t>
            </a:r>
            <a:endParaRPr lang="en-FI" dirty="0">
              <a:solidFill>
                <a:srgbClr val="2A2A2A"/>
              </a:solidFill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5368321" cy="4037749"/>
          </a:xfrm>
        </p:spPr>
        <p:txBody>
          <a:bodyPr>
            <a:normAutofit/>
          </a:bodyPr>
          <a:lstStyle/>
          <a:p>
            <a:r>
              <a:rPr lang="sv-SE" b="1" i="0" dirty="0">
                <a:solidFill>
                  <a:srgbClr val="2A2A2A"/>
                </a:solidFill>
                <a:effectLst/>
                <a:latin typeface="LocatorWebRegular"/>
              </a:rPr>
              <a:t>Medelfyllig</a:t>
            </a:r>
            <a:r>
              <a:rPr lang="sv-SE" b="0" i="0" dirty="0">
                <a:solidFill>
                  <a:srgbClr val="2A2A2A"/>
                </a:solidFill>
                <a:effectLst/>
                <a:latin typeface="LocatorWebRegular"/>
              </a:rPr>
              <a:t>, medelhöga tanniner, björnbärig, fikonkaraktär, surkörsbärskaraktär, kakaotoner, lätt </a:t>
            </a:r>
            <a:r>
              <a:rPr lang="sv-SE" b="0" i="0" dirty="0" err="1">
                <a:solidFill>
                  <a:srgbClr val="2A2A2A"/>
                </a:solidFill>
                <a:effectLst/>
                <a:latin typeface="LocatorWebRegular"/>
              </a:rPr>
              <a:t>ekighet</a:t>
            </a:r>
            <a:endParaRPr lang="sv-SE" b="0" i="0" dirty="0">
              <a:solidFill>
                <a:srgbClr val="2A2A2A"/>
              </a:solidFill>
              <a:effectLst/>
              <a:latin typeface="LocatorWebRegular"/>
            </a:endParaRPr>
          </a:p>
          <a:p>
            <a:r>
              <a:rPr lang="da-DK" dirty="0">
                <a:solidFill>
                  <a:srgbClr val="2A2A2A"/>
                </a:solidFill>
                <a:latin typeface="LocatorWebRegular"/>
              </a:rPr>
              <a:t>ALKOHOL: 15.0%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OCKER: 5.0 g/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2A2A2A"/>
                </a:solidFill>
                <a:latin typeface="LocatorWebRegular"/>
              </a:rPr>
              <a:t>SYROR: 5.6 g/l</a:t>
            </a:r>
          </a:p>
          <a:p>
            <a:endParaRPr lang="sv-FI" dirty="0"/>
          </a:p>
        </p:txBody>
      </p:sp>
      <p:pic>
        <p:nvPicPr>
          <p:cNvPr id="24578" name="Picture 2">
            <a:extLst>
              <a:ext uri="{FF2B5EF4-FFF2-40B4-BE49-F238E27FC236}">
                <a16:creationId xmlns:a16="http://schemas.microsoft.com/office/drawing/2014/main" id="{89CEF640-8590-4E99-84DC-E65BA9F09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4042" y="2062559"/>
            <a:ext cx="1042631" cy="3933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70613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it-IT" b="0" i="0" dirty="0">
                <a:solidFill>
                  <a:srgbClr val="2A2A2A"/>
                </a:solidFill>
                <a:effectLst/>
                <a:latin typeface="LocatorWebLight"/>
              </a:rPr>
              <a:t>Kvällens vi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9603275" cy="4037749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it-IT" b="0" i="0" dirty="0">
                <a:solidFill>
                  <a:srgbClr val="2A2A2A"/>
                </a:solidFill>
                <a:effectLst/>
                <a:latin typeface="LocatorWebLight"/>
              </a:rPr>
              <a:t>Sansilvestro Barbera Appassimento, Italien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>
                <a:solidFill>
                  <a:srgbClr val="2A2A2A"/>
                </a:solidFill>
                <a:latin typeface="LocatorWebLight"/>
              </a:rPr>
              <a:t>Mayu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Gran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Reserva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Carmener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18, Chile</a:t>
            </a:r>
            <a:endParaRPr lang="it-IT" dirty="0">
              <a:solidFill>
                <a:srgbClr val="2A2A2A"/>
              </a:solidFill>
              <a:latin typeface="LocatorWebLight"/>
            </a:endParaRPr>
          </a:p>
          <a:p>
            <a:pPr marL="457200" indent="-457200">
              <a:buFont typeface="+mj-lt"/>
              <a:buAutoNum type="arabicPeriod"/>
            </a:pPr>
            <a:r>
              <a:rPr lang="fi-FI" dirty="0">
                <a:solidFill>
                  <a:srgbClr val="2A2A2A"/>
                </a:solidFill>
                <a:latin typeface="LocatorWebLight"/>
              </a:rPr>
              <a:t>Casa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Marron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Gran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Marron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Appassiment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Primitiv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20,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Italien</a:t>
            </a:r>
            <a:endParaRPr lang="fi-FI" dirty="0">
              <a:solidFill>
                <a:srgbClr val="2A2A2A"/>
              </a:solidFill>
              <a:latin typeface="LocatorWebLight"/>
            </a:endParaRPr>
          </a:p>
          <a:p>
            <a:pPr marL="457200" indent="-457200">
              <a:buFont typeface="+mj-lt"/>
              <a:buAutoNum type="arabicPeriod"/>
            </a:pPr>
            <a:r>
              <a:rPr lang="fi-FI" dirty="0" err="1">
                <a:solidFill>
                  <a:srgbClr val="2A2A2A"/>
                </a:solidFill>
                <a:latin typeface="LocatorWebLight"/>
              </a:rPr>
              <a:t>Hewitson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L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Secateur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Shiraz 2020,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Australien</a:t>
            </a:r>
            <a:endParaRPr lang="fi-FI" dirty="0">
              <a:solidFill>
                <a:srgbClr val="2A2A2A"/>
              </a:solidFill>
              <a:latin typeface="LocatorWebLight"/>
            </a:endParaRPr>
          </a:p>
          <a:p>
            <a:pPr marL="457200" indent="-457200">
              <a:buFont typeface="+mj-lt"/>
              <a:buAutoNum type="arabicPeriod"/>
            </a:pPr>
            <a:r>
              <a:rPr lang="fi-FI" dirty="0" err="1">
                <a:solidFill>
                  <a:srgbClr val="2A2A2A"/>
                </a:solidFill>
                <a:latin typeface="LocatorWebLight"/>
              </a:rPr>
              <a:t>Nin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Negri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SfurSat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Carlo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Negri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Nebbiol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19,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Italien</a:t>
            </a:r>
            <a:endParaRPr lang="fi-FI" dirty="0">
              <a:solidFill>
                <a:srgbClr val="2A2A2A"/>
              </a:solidFill>
              <a:latin typeface="LocatorWebLight"/>
            </a:endParaRPr>
          </a:p>
          <a:p>
            <a:pPr marL="457200" indent="-457200">
              <a:buFont typeface="+mj-lt"/>
              <a:buAutoNum type="arabicPeriod"/>
            </a:pPr>
            <a:r>
              <a:rPr lang="fi-FI" dirty="0" err="1">
                <a:solidFill>
                  <a:srgbClr val="2A2A2A"/>
                </a:solidFill>
                <a:latin typeface="LocatorWebLight"/>
              </a:rPr>
              <a:t>Tommasi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Amarone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della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Valpolicella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Classico</a:t>
            </a:r>
            <a:r>
              <a:rPr lang="fi-FI" dirty="0">
                <a:solidFill>
                  <a:srgbClr val="2A2A2A"/>
                </a:solidFill>
                <a:latin typeface="LocatorWebLight"/>
              </a:rPr>
              <a:t> 2018, </a:t>
            </a:r>
            <a:r>
              <a:rPr lang="fi-FI" dirty="0" err="1">
                <a:solidFill>
                  <a:srgbClr val="2A2A2A"/>
                </a:solidFill>
                <a:latin typeface="LocatorWebLight"/>
              </a:rPr>
              <a:t>Italien</a:t>
            </a:r>
            <a:endParaRPr lang="en-US" b="1" dirty="0">
              <a:solidFill>
                <a:srgbClr val="2A2A2A"/>
              </a:solidFill>
              <a:latin typeface="LocatorWebRegular"/>
            </a:endParaRPr>
          </a:p>
          <a:p>
            <a:pPr marL="457200" indent="-457200">
              <a:buFont typeface="+mj-lt"/>
              <a:buAutoNum type="arabicPeriod"/>
            </a:pPr>
            <a:endParaRPr lang="da-DK" dirty="0">
              <a:solidFill>
                <a:srgbClr val="2A2A2A"/>
              </a:solidFill>
              <a:latin typeface="LocatorWebRegular"/>
            </a:endParaRPr>
          </a:p>
          <a:p>
            <a:pPr marL="457200" indent="-457200">
              <a:buFont typeface="+mj-lt"/>
              <a:buAutoNum type="arabicPeriod"/>
            </a:pPr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16180138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fr-FR" b="0" i="0" dirty="0" err="1">
                <a:solidFill>
                  <a:srgbClr val="2A2A2A"/>
                </a:solidFill>
                <a:effectLst/>
                <a:latin typeface="LocatorWebLight"/>
              </a:rPr>
              <a:t>Appassimento</a:t>
            </a:r>
            <a:r>
              <a:rPr lang="fr-FR" b="0" i="0" dirty="0">
                <a:solidFill>
                  <a:srgbClr val="2A2A2A"/>
                </a:solidFill>
                <a:effectLst/>
                <a:latin typeface="LocatorWebLight"/>
              </a:rPr>
              <a:t> </a:t>
            </a:r>
            <a:r>
              <a:rPr lang="fr-FR" b="0" i="0" dirty="0" err="1">
                <a:solidFill>
                  <a:srgbClr val="2A2A2A"/>
                </a:solidFill>
                <a:effectLst/>
                <a:latin typeface="LocatorWebLight"/>
              </a:rPr>
              <a:t>metoden</a:t>
            </a:r>
            <a:endParaRPr lang="fr-FR" b="0" i="0" dirty="0">
              <a:solidFill>
                <a:srgbClr val="2A2A2A"/>
              </a:solidFill>
              <a:effectLst/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rm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assimento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yd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ss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rump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greppet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vänd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m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ssitovine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eckna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e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ä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ord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kade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vo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b="0" i="0" dirty="0">
              <a:solidFill>
                <a:srgbClr val="2A2A2A"/>
              </a:solidFill>
              <a:effectLst/>
              <a:latin typeface="LocatorWebRegular"/>
            </a:endParaRPr>
          </a:p>
        </p:txBody>
      </p:sp>
      <p:pic>
        <p:nvPicPr>
          <p:cNvPr id="9227" name="Picture 11" descr="Difference between Ripasso and appassimento - ask Decanter">
            <a:extLst>
              <a:ext uri="{FF2B5EF4-FFF2-40B4-BE49-F238E27FC236}">
                <a16:creationId xmlns:a16="http://schemas.microsoft.com/office/drawing/2014/main" id="{A9B0BDB6-AC36-4C4A-89CA-214993BC52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440" y="2119709"/>
            <a:ext cx="4844414" cy="320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057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fr-FR" b="0" i="0" dirty="0">
                <a:solidFill>
                  <a:srgbClr val="2A2A2A"/>
                </a:solidFill>
                <a:effectLst/>
                <a:latin typeface="LocatorWebLight"/>
              </a:rPr>
              <a:t>histori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rm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nd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a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ik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skrev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v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siodu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800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.K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ssiodoru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500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K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b="0" i="0" dirty="0">
              <a:solidFill>
                <a:srgbClr val="2A2A2A"/>
              </a:solidFill>
              <a:effectLst/>
              <a:latin typeface="LocatorWebRegular"/>
            </a:endParaRPr>
          </a:p>
        </p:txBody>
      </p:sp>
    </p:spTree>
    <p:extLst>
      <p:ext uri="{BB962C8B-B14F-4D97-AF65-F5344CB8AC3E}">
        <p14:creationId xmlns:p14="http://schemas.microsoft.com/office/powerpoint/2010/main" val="969839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fr-FR" b="0" i="0" dirty="0" err="1">
                <a:solidFill>
                  <a:srgbClr val="2A2A2A"/>
                </a:solidFill>
                <a:effectLst/>
                <a:latin typeface="LocatorWebLight"/>
              </a:rPr>
              <a:t>Odlingsomr</a:t>
            </a:r>
            <a:r>
              <a:rPr lang="fr-FR" dirty="0" err="1">
                <a:solidFill>
                  <a:srgbClr val="2A2A2A"/>
                </a:solidFill>
                <a:latin typeface="LocatorWebLight"/>
              </a:rPr>
              <a:t>åden</a:t>
            </a:r>
            <a:r>
              <a:rPr lang="fr-FR" dirty="0">
                <a:solidFill>
                  <a:srgbClr val="2A2A2A"/>
                </a:solidFill>
                <a:latin typeface="LocatorWebLight"/>
              </a:rPr>
              <a:t> 1</a:t>
            </a:r>
            <a:endParaRPr lang="fr-FR" b="0" i="0" dirty="0">
              <a:solidFill>
                <a:srgbClr val="2A2A2A"/>
              </a:solidFill>
              <a:effectLst/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rm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g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llverka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ådan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e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ång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producerande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änder</a:t>
            </a:r>
            <a:endParaRPr lang="fi-FI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Aft>
                <a:spcPts val="10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ohwi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Österrike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Aft>
                <a:spcPts val="10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Paille Jura,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nkrike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strali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gentin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Chile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dafrik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Canada 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SA</a:t>
            </a: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2534" name="Picture 6" descr="Herstellung von Strohwein - YouTube">
            <a:extLst>
              <a:ext uri="{FF2B5EF4-FFF2-40B4-BE49-F238E27FC236}">
                <a16:creationId xmlns:a16="http://schemas.microsoft.com/office/drawing/2014/main" id="{A0CB8998-F733-47A4-8CE3-4F672C792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420" y="2181225"/>
            <a:ext cx="457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4697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fr-FR" b="0" i="0" dirty="0" err="1">
                <a:solidFill>
                  <a:srgbClr val="2A2A2A"/>
                </a:solidFill>
                <a:effectLst/>
                <a:latin typeface="LocatorWebLight"/>
              </a:rPr>
              <a:t>Odlingsomr</a:t>
            </a:r>
            <a:r>
              <a:rPr lang="fr-FR" dirty="0" err="1">
                <a:solidFill>
                  <a:srgbClr val="2A2A2A"/>
                </a:solidFill>
                <a:latin typeface="LocatorWebLight"/>
              </a:rPr>
              <a:t>åden</a:t>
            </a:r>
            <a:r>
              <a:rPr lang="fr-FR" dirty="0">
                <a:solidFill>
                  <a:srgbClr val="2A2A2A"/>
                </a:solidFill>
                <a:latin typeface="LocatorWebLight"/>
              </a:rPr>
              <a:t> 2</a:t>
            </a:r>
            <a:endParaRPr lang="fr-FR" b="0" i="0" dirty="0">
              <a:solidFill>
                <a:srgbClr val="2A2A2A"/>
              </a:solidFill>
              <a:effectLst/>
              <a:latin typeface="LocatorWeb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rm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ali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örst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t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nt</a:t>
            </a: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Aft>
                <a:spcPts val="10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arone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ioto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furzat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nto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grantino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ssito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.fl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Aft>
                <a:spcPts val="1000"/>
              </a:spcAft>
            </a:pP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neto, Piemonte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ulien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mbardiet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oscana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fl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b="0" i="0" dirty="0">
              <a:solidFill>
                <a:srgbClr val="2A2A2A"/>
              </a:solidFill>
              <a:effectLst/>
              <a:latin typeface="LocatorWebRegular"/>
            </a:endParaRPr>
          </a:p>
        </p:txBody>
      </p:sp>
      <p:pic>
        <p:nvPicPr>
          <p:cNvPr id="21506" name="Picture 2" descr="appassimento">
            <a:extLst>
              <a:ext uri="{FF2B5EF4-FFF2-40B4-BE49-F238E27FC236}">
                <a16:creationId xmlns:a16="http://schemas.microsoft.com/office/drawing/2014/main" id="{C28F2CAC-C3B7-4D8F-997B-9F48759EA4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625" y="2029123"/>
            <a:ext cx="3200400" cy="405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4651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fr-FR" b="0" i="0" dirty="0" err="1">
                <a:solidFill>
                  <a:srgbClr val="2A2A2A"/>
                </a:solidFill>
                <a:effectLst/>
                <a:latin typeface="LocatorWebLight"/>
              </a:rPr>
              <a:t>Framställningsmetod</a:t>
            </a:r>
            <a:r>
              <a:rPr lang="fr-FR" b="0" i="0" dirty="0">
                <a:solidFill>
                  <a:srgbClr val="2A2A2A"/>
                </a:solidFill>
                <a:effectLst/>
                <a:latin typeface="LocatorWebLight"/>
              </a:rPr>
              <a:t>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kning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v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vor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lvl="1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kte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skar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5-40 %</a:t>
            </a:r>
            <a:endParaRPr lang="en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ckerkoncentratione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ökar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hållandet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la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uktos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ukos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ändras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a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uktos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vs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nns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ötare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arpa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äppelsyra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skar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syran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centreras</a:t>
            </a: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zymförändringar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r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t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a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lext</a:t>
            </a: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n</a:t>
            </a:r>
            <a:endParaRPr lang="en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10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fr-FR" b="0" i="0" dirty="0" err="1">
                <a:solidFill>
                  <a:srgbClr val="2A2A2A"/>
                </a:solidFill>
                <a:effectLst/>
                <a:latin typeface="LocatorWebLight"/>
              </a:rPr>
              <a:t>Framställningsmetod</a:t>
            </a:r>
            <a:r>
              <a:rPr lang="fr-FR" b="0" i="0" dirty="0">
                <a:solidFill>
                  <a:srgbClr val="2A2A2A"/>
                </a:solidFill>
                <a:effectLst/>
                <a:latin typeface="LocatorWebLight"/>
              </a:rPr>
              <a:t>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uttai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kningshu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digare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kl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uell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ädring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ag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t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orstyrd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fuktningssystem</a:t>
            </a:r>
            <a:endParaRPr lang="fi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vorna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rteras</a:t>
            </a:r>
            <a:r>
              <a:rPr lang="fi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i-FI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inuerligt</a:t>
            </a: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en-FI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sz="1800" b="0" i="0" dirty="0">
              <a:solidFill>
                <a:srgbClr val="2A2A2A"/>
              </a:solidFill>
              <a:effectLst/>
              <a:latin typeface="LocatorWebRegular"/>
            </a:endParaRPr>
          </a:p>
        </p:txBody>
      </p:sp>
      <p:pic>
        <p:nvPicPr>
          <p:cNvPr id="7" name="Picture 2" descr="FRUTTAI – TACINAIA">
            <a:extLst>
              <a:ext uri="{FF2B5EF4-FFF2-40B4-BE49-F238E27FC236}">
                <a16:creationId xmlns:a16="http://schemas.microsoft.com/office/drawing/2014/main" id="{6AE0CF3A-C9A3-44CB-A1B7-8D4FEF5B1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929" y="2174081"/>
            <a:ext cx="4733925" cy="3550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659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sv-FI" b="0" i="0">
                <a:solidFill>
                  <a:srgbClr val="2A2A2A"/>
                </a:solidFill>
                <a:effectLst/>
                <a:latin typeface="LocatorWebLight"/>
              </a:rPr>
              <a:t>amaro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4644420" cy="4037749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sv-FI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rkning för Amarone, kvalitetstillverkare minst 100 dagar, minst 14 % alkohol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sv-FI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sockerhalt max 14 g/l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sv-FI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tlagring 2-3 år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sv-FI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arone är det mest kända vinet gjort med appasimentometoden. Många av de andra appasimentovinerna är idag lågkvalitativa bulkviner, men det finns lysande undantag.  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sv-FI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FI" sz="1800" b="0" i="0">
              <a:solidFill>
                <a:srgbClr val="2A2A2A"/>
              </a:solidFill>
              <a:effectLst/>
              <a:latin typeface="LocatorWebRegular"/>
            </a:endParaRPr>
          </a:p>
        </p:txBody>
      </p:sp>
      <p:pic>
        <p:nvPicPr>
          <p:cNvPr id="17410" name="Picture 2" descr="Amarone: Riserva, single-vineyard and special-selection – panel tasting  results - Decanter">
            <a:extLst>
              <a:ext uri="{FF2B5EF4-FFF2-40B4-BE49-F238E27FC236}">
                <a16:creationId xmlns:a16="http://schemas.microsoft.com/office/drawing/2014/main" id="{F5BE6CB2-F0C3-472D-AB85-C041D867A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170" y="2124075"/>
            <a:ext cx="4459815" cy="2800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978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286000"/>
            <a:ext cx="9603274" cy="3786531"/>
          </a:xfrm>
        </p:spPr>
        <p:txBody>
          <a:bodyPr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sv-FI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Ord förmår icke uttrycka hur rund dess sötma är: </a:t>
            </a:r>
          </a:p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sv-FI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s kropp förstärkts av en okänd energi. När den först </a:t>
            </a:r>
          </a:p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sv-FI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r intagits</a:t>
            </a:r>
            <a:r>
              <a:rPr lang="sv-FI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blir den så tjock, att den känns som en köttig </a:t>
            </a:r>
          </a:p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sv-FI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ätska eller en ätbar dryck.”</a:t>
            </a:r>
          </a:p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endParaRPr lang="sv-FI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endParaRPr lang="sv-FI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sv-FI" b="0" i="1" dirty="0">
              <a:solidFill>
                <a:srgbClr val="2A2A2A"/>
              </a:solidFill>
              <a:effectLst/>
              <a:latin typeface="LocatorWebRegular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D387E3-6F96-484A-95E2-B3B39866C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Dikt av </a:t>
            </a:r>
            <a:r>
              <a:rPr lang="sv-FI" dirty="0" err="1"/>
              <a:t>cassidorius</a:t>
            </a:r>
            <a:r>
              <a:rPr lang="sv-FI" dirty="0"/>
              <a:t> från </a:t>
            </a:r>
            <a:r>
              <a:rPr lang="sv-FI" dirty="0" err="1"/>
              <a:t>ravenna</a:t>
            </a:r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1180895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95</TotalTime>
  <Words>564</Words>
  <Application>Microsoft Office PowerPoint</Application>
  <PresentationFormat>Laajakuva</PresentationFormat>
  <Paragraphs>73</Paragraphs>
  <Slides>16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6</vt:i4>
      </vt:variant>
    </vt:vector>
  </HeadingPairs>
  <TitlesOfParts>
    <vt:vector size="23" baseType="lpstr">
      <vt:lpstr>Arial</vt:lpstr>
      <vt:lpstr>Calibri</vt:lpstr>
      <vt:lpstr>Gill Sans MT</vt:lpstr>
      <vt:lpstr>LocatorWebLight</vt:lpstr>
      <vt:lpstr>LocatorWebRegular</vt:lpstr>
      <vt:lpstr>Gallery</vt:lpstr>
      <vt:lpstr>think-cell Slide</vt:lpstr>
      <vt:lpstr>APPASSIMENTO-metoden 28.10.2022</vt:lpstr>
      <vt:lpstr>Appassimento metoden</vt:lpstr>
      <vt:lpstr>historia</vt:lpstr>
      <vt:lpstr>Odlingsområden 1</vt:lpstr>
      <vt:lpstr>Odlingsområden 2</vt:lpstr>
      <vt:lpstr>Framställningsmetod 1</vt:lpstr>
      <vt:lpstr>Framställningsmetod 2</vt:lpstr>
      <vt:lpstr>amarone</vt:lpstr>
      <vt:lpstr>Dikt av cassidorius från ravenna</vt:lpstr>
      <vt:lpstr>Sansilvestro Barbera Appassimento, Italien</vt:lpstr>
      <vt:lpstr>Mayu Gran Reserva Carmenere 2018, Chile</vt:lpstr>
      <vt:lpstr>Casa Marrone Gran Marrone Appassimento Primitivo 2020, Italien</vt:lpstr>
      <vt:lpstr>Hewitson Le Secateur Shiraz 2020, Australien</vt:lpstr>
      <vt:lpstr>Nino Negri SfurSat Carlo Negri Nebbiolo 2019,  Italien</vt:lpstr>
      <vt:lpstr>Tommasi Amarone della Valpolicella  Classico 2018, Italien</vt:lpstr>
      <vt:lpstr>Kvällens vin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ting 19.3.2021</dc:title>
  <dc:creator>Robert Berglund</dc:creator>
  <cp:lastModifiedBy>Hellman Guy</cp:lastModifiedBy>
  <cp:revision>8</cp:revision>
  <dcterms:created xsi:type="dcterms:W3CDTF">2021-03-14T14:02:07Z</dcterms:created>
  <dcterms:modified xsi:type="dcterms:W3CDTF">2022-10-26T10:20:56Z</dcterms:modified>
</cp:coreProperties>
</file>